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3C10"/>
    <a:srgbClr val="E7EBF3"/>
    <a:srgbClr val="0D6CB9"/>
    <a:srgbClr val="008482"/>
    <a:srgbClr val="42873F"/>
    <a:srgbClr val="F16038"/>
    <a:srgbClr val="CCD4E6"/>
    <a:srgbClr val="0A518B"/>
    <a:srgbClr val="009900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 autoAdjust="0"/>
    <p:restoredTop sz="93792" autoAdjust="0"/>
  </p:normalViewPr>
  <p:slideViewPr>
    <p:cSldViewPr snapToGrid="0">
      <p:cViewPr varScale="1">
        <p:scale>
          <a:sx n="80" d="100"/>
          <a:sy n="80" d="100"/>
        </p:scale>
        <p:origin x="754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772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taMKsabpbzHSbtJVTM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GX.pO_oo_k.BYnGiM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mK1Q7VkkJOSNcavVlm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2kFD1g.wXVoInTxQ_s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mK1Q7VkkJOSNcavVlm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GX.pO_oo_k.BYnGiM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GX.pO_oo_k.BYnGiM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tGX.pO_oo_k.BYnGiM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mK1Q7VkkJOSNcavVlm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mK1Q7VkkJOSNcavVlm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xUCoiiWU8Nw9lEacputg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AEAB4D424892449BFD7915C4F5A09F" ma:contentTypeVersion="12" ma:contentTypeDescription="Create a new document." ma:contentTypeScope="" ma:versionID="d0439d7cc38e24e46fb808d7d92b4c5b">
  <xsd:schema xmlns:xsd="http://www.w3.org/2001/XMLSchema" xmlns:xs="http://www.w3.org/2001/XMLSchema" xmlns:p="http://schemas.microsoft.com/office/2006/metadata/properties" xmlns:ns3="1c385a10-c82d-4a1d-b757-6504ac7293f6" xmlns:ns4="0d37da99-20f1-47d3-a04c-39ba85aeb7a6" targetNamespace="http://schemas.microsoft.com/office/2006/metadata/properties" ma:root="true" ma:fieldsID="b35844b59217bafa696bba0c91eb0983" ns3:_="" ns4:_="">
    <xsd:import namespace="1c385a10-c82d-4a1d-b757-6504ac7293f6"/>
    <xsd:import namespace="0d37da99-20f1-47d3-a04c-39ba85aeb7a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85a10-c82d-4a1d-b757-6504ac7293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37da99-20f1-47d3-a04c-39ba85aeb7a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438415F-CA52-4AC6-B74C-FE95CEB90D1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D5ECF12-E994-4DD9-ADA6-387FE51F0D41}">
  <ds:schemaRefs>
    <ds:schemaRef ds:uri="0d37da99-20f1-47d3-a04c-39ba85aeb7a6"/>
    <ds:schemaRef ds:uri="1c385a10-c82d-4a1d-b757-6504ac7293f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19692CD-7339-4E15-8B85-65EB8EAE7D52}">
  <ds:schemaRefs>
    <ds:schemaRef ds:uri="0d37da99-20f1-47d3-a04c-39ba85aeb7a6"/>
    <ds:schemaRef ds:uri="1c385a10-c82d-4a1d-b757-6504ac7293f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A_Template</Template>
  <TotalTime>1389</TotalTime>
  <Words>3308</Words>
  <Application>Microsoft Office PowerPoint</Application>
  <PresentationFormat>Widescreen</PresentationFormat>
  <Paragraphs>291</Paragraphs>
  <Slides>46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71" baseType="lpstr">
      <vt:lpstr>Arial</vt:lpstr>
      <vt:lpstr>Calibri</vt:lpstr>
      <vt:lpstr>Calibri Light</vt:lpstr>
      <vt:lpstr>Courier New</vt:lpstr>
      <vt:lpstr>Open Sans</vt:lpstr>
      <vt:lpstr>Open Sans (Body)</vt:lpstr>
      <vt:lpstr>Open Sans (Headings)</vt:lpstr>
      <vt:lpstr>Open Sans Light</vt:lpstr>
      <vt:lpstr>Open Sans Semibold</vt:lpstr>
      <vt:lpstr>Roboto Slab Light</vt:lpstr>
      <vt:lpstr>Roboto Slab Medium</vt:lpstr>
      <vt:lpstr>System Font Regular</vt:lpstr>
      <vt:lpstr>Wingdings</vt:lpstr>
      <vt:lpstr>2_Office Theme</vt:lpstr>
      <vt:lpstr>1_TEA Main Slide</vt:lpstr>
      <vt:lpstr>3_Office Theme</vt:lpstr>
      <vt:lpstr>2_TEA Main Slide</vt:lpstr>
      <vt:lpstr>3_TEA Main Slide</vt:lpstr>
      <vt:lpstr>4_Office Theme</vt:lpstr>
      <vt:lpstr>4_TEA Main Slide</vt:lpstr>
      <vt:lpstr>5_TEA Main Slide</vt:lpstr>
      <vt:lpstr>3_Office Theme</vt:lpstr>
      <vt:lpstr>2_Office Theme</vt:lpstr>
      <vt:lpstr>2_Office Theme</vt:lpstr>
      <vt:lpstr>think-cell Slide</vt:lpstr>
      <vt:lpstr>Revised STAAR Alternate 2 Participation Requirements</vt:lpstr>
      <vt:lpstr>Webinar Norms</vt:lpstr>
      <vt:lpstr>Agenda</vt:lpstr>
      <vt:lpstr>Webinar Goals</vt:lpstr>
      <vt:lpstr>STAAR Alternate 2 Overview</vt:lpstr>
      <vt:lpstr>What is STAAR Alternate 2?</vt:lpstr>
      <vt:lpstr>Who is assessed with STAAR Alternate 2?</vt:lpstr>
      <vt:lpstr>TEA Definition of Student with the Most Significant Cognitive Disability</vt:lpstr>
      <vt:lpstr>USDE Statewide 1% Waiver Denial</vt:lpstr>
      <vt:lpstr>ESSA Waiver Denial Notification</vt:lpstr>
      <vt:lpstr>USDE Denial by State</vt:lpstr>
      <vt:lpstr>Frequently Asked Question 1</vt:lpstr>
      <vt:lpstr>Revised STAAR Alternate 2 Participation Requirements, cont.</vt:lpstr>
      <vt:lpstr>STAAR Alternate 2 Participation Requirements</vt:lpstr>
      <vt:lpstr>STAAR Alternate 2 Participation Requirements (continued)</vt:lpstr>
      <vt:lpstr>Background and Instructions </vt:lpstr>
      <vt:lpstr>Background and Instructions (continued) </vt:lpstr>
      <vt:lpstr>Step I: Determining Eligibility</vt:lpstr>
      <vt:lpstr>Step II: Determining Eligibility</vt:lpstr>
      <vt:lpstr>Step II: Row 1</vt:lpstr>
      <vt:lpstr>Step II: Row 2</vt:lpstr>
      <vt:lpstr>Step II: Row 3</vt:lpstr>
      <vt:lpstr>Step II: Row 4</vt:lpstr>
      <vt:lpstr>Step II: Row 5</vt:lpstr>
      <vt:lpstr>Step II: Row 6</vt:lpstr>
      <vt:lpstr>Frequently Asked Question 2</vt:lpstr>
      <vt:lpstr>Step II: Row 7</vt:lpstr>
      <vt:lpstr>Step II: Row 8</vt:lpstr>
      <vt:lpstr>Step II: Review Criteria </vt:lpstr>
      <vt:lpstr>Step III: Provide Assurances and Confirm </vt:lpstr>
      <vt:lpstr>Frequently Asked Question 3</vt:lpstr>
      <vt:lpstr>Step IV: STAAR Alternate 2 Summary</vt:lpstr>
      <vt:lpstr>Frequently Asked Questions Section</vt:lpstr>
      <vt:lpstr>Frequently Asked Question 4</vt:lpstr>
      <vt:lpstr>Frequently Asked Question 5</vt:lpstr>
      <vt:lpstr>Frequently Asked Question 6</vt:lpstr>
      <vt:lpstr>Frequently Asked Question 7</vt:lpstr>
      <vt:lpstr>Frequently Asked Question 8</vt:lpstr>
      <vt:lpstr>Frequently Asked Question 9</vt:lpstr>
      <vt:lpstr>Frequently Asked Question 10</vt:lpstr>
      <vt:lpstr>Additional Resources</vt:lpstr>
      <vt:lpstr>STAAR Alternate 2 Participation Requirements Resources</vt:lpstr>
      <vt:lpstr>Texas Assessment Educator Committees</vt:lpstr>
      <vt:lpstr>TEA Contact Information</vt:lpstr>
      <vt:lpstr>Disclaimer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abler 1</dc:title>
  <dc:creator>Iris Tian</dc:creator>
  <cp:lastModifiedBy>Smith, Melissa</cp:lastModifiedBy>
  <cp:revision>6</cp:revision>
  <dcterms:created xsi:type="dcterms:W3CDTF">2020-06-12T14:05:56Z</dcterms:created>
  <dcterms:modified xsi:type="dcterms:W3CDTF">2023-11-03T19:5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AEAB4D424892449BFD7915C4F5A09F</vt:lpwstr>
  </property>
</Properties>
</file>